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28"/>
  </p:notesMasterIdLst>
  <p:sldIdLst>
    <p:sldId id="287" r:id="rId2"/>
    <p:sldId id="1018" r:id="rId3"/>
    <p:sldId id="1062" r:id="rId4"/>
    <p:sldId id="1021" r:id="rId5"/>
    <p:sldId id="1020" r:id="rId6"/>
    <p:sldId id="386" r:id="rId7"/>
    <p:sldId id="1023" r:id="rId8"/>
    <p:sldId id="1024" r:id="rId9"/>
    <p:sldId id="1063" r:id="rId10"/>
    <p:sldId id="434" r:id="rId11"/>
    <p:sldId id="432" r:id="rId12"/>
    <p:sldId id="1010" r:id="rId13"/>
    <p:sldId id="1028" r:id="rId14"/>
    <p:sldId id="1035" r:id="rId15"/>
    <p:sldId id="1047" r:id="rId16"/>
    <p:sldId id="1065" r:id="rId17"/>
    <p:sldId id="258" r:id="rId18"/>
    <p:sldId id="1052" r:id="rId19"/>
    <p:sldId id="1041" r:id="rId20"/>
    <p:sldId id="1042" r:id="rId21"/>
    <p:sldId id="1045" r:id="rId22"/>
    <p:sldId id="1051" r:id="rId23"/>
    <p:sldId id="1064" r:id="rId24"/>
    <p:sldId id="496" r:id="rId25"/>
    <p:sldId id="1054" r:id="rId26"/>
    <p:sldId id="27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3" autoAdjust="0"/>
    <p:restoredTop sz="94695" autoAdjust="0"/>
  </p:normalViewPr>
  <p:slideViewPr>
    <p:cSldViewPr snapToGrid="0">
      <p:cViewPr varScale="1">
        <p:scale>
          <a:sx n="91" d="100"/>
          <a:sy n="91" d="100"/>
        </p:scale>
        <p:origin x="1080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44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922215-8BA0-43B2-826F-C1644CB39497}" type="datetimeFigureOut">
              <a:rPr lang="en-US" smtClean="0"/>
              <a:t>11/3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017088-D2E4-4402-AD11-A9D635BE84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30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15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017088-D2E4-4402-AD11-A9D635BE840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39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F59AB-1E9F-44C3-8D0A-2C3173846DD9}" type="slidenum">
              <a:rPr lang="en-US" smtClean="0">
                <a:latin typeface="Arial" panose="020B0604020202020204" pitchFamily="34" charset="0"/>
              </a:rPr>
              <a:t>17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669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69077F-F250-4557-8808-CA46CF332CF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671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13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7698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1918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8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717789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0" y="6012657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7"/>
            <a:ext cx="11256264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11256264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055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19088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4169664"/>
            <a:ext cx="530352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88" y="4169664"/>
            <a:ext cx="5303520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466344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6419088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466344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6419088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79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466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27648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47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0587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fld id="{821EA781-99F4-4792-B554-5B26AF6F46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54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83" b="18623"/>
          <a:stretch/>
        </p:blipFill>
        <p:spPr>
          <a:xfrm>
            <a:off x="0" y="247"/>
            <a:ext cx="12192000" cy="342875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1" name="Rectangle 30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2" name="Rectangle 31"/>
          <p:cNvSpPr/>
          <p:nvPr/>
        </p:nvSpPr>
        <p:spPr bwMode="gray">
          <a:xfrm>
            <a:off x="-1" y="3246120"/>
            <a:ext cx="12191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3" name="TextBox 32"/>
          <p:cNvSpPr txBox="1"/>
          <p:nvPr/>
        </p:nvSpPr>
        <p:spPr>
          <a:xfrm>
            <a:off x="4218723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810" y="4318091"/>
            <a:ext cx="4550380" cy="133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313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0" y="0"/>
            <a:ext cx="12192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white">
          <a:xfrm flipV="1">
            <a:off x="0" y="5963440"/>
            <a:ext cx="12192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0" y="524365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gray">
          <a:xfrm>
            <a:off x="0" y="5538524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1" name="TextBox 30"/>
          <p:cNvSpPr txBox="1"/>
          <p:nvPr/>
        </p:nvSpPr>
        <p:spPr>
          <a:xfrm>
            <a:off x="4218722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958" y="2099930"/>
            <a:ext cx="5016085" cy="1470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78082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5" name="Rectangle 24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0" y="5717788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0" y="6012656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7"/>
            <a:ext cx="11256264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280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3" name="Rectangle 22"/>
          <p:cNvSpPr/>
          <p:nvPr/>
        </p:nvSpPr>
        <p:spPr bwMode="gray">
          <a:xfrm>
            <a:off x="0" y="6019800"/>
            <a:ext cx="12192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4" name="Rectangle 23"/>
          <p:cNvSpPr/>
          <p:nvPr/>
        </p:nvSpPr>
        <p:spPr bwMode="gray">
          <a:xfrm>
            <a:off x="0" y="6139543"/>
            <a:ext cx="12192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11256264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277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37698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" y="1"/>
            <a:ext cx="12195048" cy="6376987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50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6"/>
            <a:ext cx="12192000" cy="638106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11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015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11256264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476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591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434157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466344" y="6192078"/>
            <a:ext cx="11362893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466344" y="6252068"/>
            <a:ext cx="11362893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/>
          <p:cNvSpPr/>
          <p:nvPr/>
        </p:nvSpPr>
        <p:spPr bwMode="white">
          <a:xfrm>
            <a:off x="11747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519672"/>
            <a:ext cx="1097280" cy="18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133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9">
          <p15:clr>
            <a:srgbClr val="F26B43"/>
          </p15:clr>
        </p15:guide>
        <p15:guide id="4" pos="7385">
          <p15:clr>
            <a:srgbClr val="F26B43"/>
          </p15:clr>
        </p15:guide>
        <p15:guide id="5" orient="horz" pos="931">
          <p15:clr>
            <a:srgbClr val="F26B43"/>
          </p15:clr>
        </p15:guide>
        <p15:guide id="6" orient="horz" pos="877">
          <p15:clr>
            <a:srgbClr val="F26B43"/>
          </p15:clr>
        </p15:guide>
        <p15:guide id="7" orient="horz" pos="261">
          <p15:clr>
            <a:srgbClr val="F26B43"/>
          </p15:clr>
        </p15:guide>
        <p15:guide id="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document/d/1fO7_E3fg1ftoYofa6npBhOoCEMIxYYPe3VL1R4fCCtM/edit" TargetMode="Externa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osln@battelle.org" TargetMode="External"/><Relationship Id="rId2" Type="http://schemas.openxmlformats.org/officeDocument/2006/relationships/hyperlink" Target="https://forms.office.com/Pages/ResponsePage.aspx?id=xPz4UNiUB0-E6zbtV8fIosW9EwyoLoVKhomvRF6X-GZUM1gxNU5ZVFBWNVdSVElMRjI0RDdDMjhHSy4u" TargetMode="Externa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document/d/18hLC1NJABjDEM8UdBrW7u_bC5Gbj5PdIs2Untn4Irp4/edit?usp=sharing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des.ohio.gov/ohio-revised-code/section-3326.03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hyperlink" Target="http://education.ohio.gov/Topics/STEM-Science-Technology-Engineering-and-Mathem/STEM-and-STEAM-School-Designation" TargetMode="External"/><Relationship Id="rId4" Type="http://schemas.openxmlformats.org/officeDocument/2006/relationships/hyperlink" Target="http://education.ohio.gov/getattachment/Topics/STEM-Science-Technology-Engineering-and-Mathem/Quality-Model-for-STEM-and-STEAM-Schools/Quality-Model-for-STEM-and-STEAM-Schools-12-18-2017.pdf.aspx?lang=en-US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B26D5D9-1DA5-473A-83FC-0261661E02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2234" y="-82438"/>
            <a:ext cx="13397046" cy="70228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1A5287-E74A-4EF4-9391-934156D42F6A}"/>
              </a:ext>
            </a:extLst>
          </p:cNvPr>
          <p:cNvSpPr txBox="1"/>
          <p:nvPr/>
        </p:nvSpPr>
        <p:spPr>
          <a:xfrm>
            <a:off x="-262234" y="4005965"/>
            <a:ext cx="13397046" cy="208443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466344" y="5513173"/>
            <a:ext cx="11256264" cy="62124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TEM Designation Overview</a:t>
            </a:r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66344" y="4005965"/>
            <a:ext cx="11256264" cy="147218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eyond PBL: Teaching and Learning in STEM/STEAM School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71D3E4-8C55-4708-A20C-DEE97F64E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B4B01B-D6F8-4E71-91FC-44654BBE98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ther Sherman</a:t>
            </a:r>
          </a:p>
          <a:p>
            <a:r>
              <a:rPr lang="en-US" dirty="0"/>
              <a:t>Battelle </a:t>
            </a:r>
          </a:p>
        </p:txBody>
      </p:sp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1F5300-2600-4A2D-85AA-03FCD4C4A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BAA43B-EB76-42AF-9FF9-AED6CF763D2B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6BE"/>
                </a:solidFill>
                <a:latin typeface="Arial"/>
              </a:rPr>
              <a:t>Domain I: A Culture of Lear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8BC09B-0CF3-4C4B-841F-34DC749768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r>
              <a:rPr lang="en-US" dirty="0"/>
              <a:t>Innovation, entrepreneurial spirit</a:t>
            </a:r>
          </a:p>
          <a:p>
            <a:r>
              <a:rPr lang="en-US" dirty="0"/>
              <a:t>Inquiry</a:t>
            </a:r>
          </a:p>
          <a:p>
            <a:r>
              <a:rPr lang="en-US" dirty="0"/>
              <a:t>Collaboration </a:t>
            </a:r>
          </a:p>
          <a:p>
            <a:r>
              <a:rPr lang="en-US" dirty="0"/>
              <a:t>Accountability </a:t>
            </a:r>
          </a:p>
          <a:p>
            <a:r>
              <a:rPr lang="en-US" dirty="0"/>
              <a:t>Inclusivity </a:t>
            </a:r>
          </a:p>
          <a:p>
            <a:r>
              <a:rPr lang="en-US" dirty="0"/>
              <a:t>Habits of mind/values</a:t>
            </a:r>
          </a:p>
          <a:p>
            <a:r>
              <a:rPr lang="en-US" dirty="0"/>
              <a:t>Personalized</a:t>
            </a:r>
          </a:p>
          <a:p>
            <a:r>
              <a:rPr lang="en-US" dirty="0"/>
              <a:t>Student-driven </a:t>
            </a:r>
          </a:p>
          <a:p>
            <a:r>
              <a:rPr lang="en-US" dirty="0"/>
              <a:t>Leadership EXPECTS and ACCEPTS innova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F5536A-E9DD-4159-BAB4-BE265D21D61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27AD3-5EB3-4068-BE65-AA8E280E37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5" r="8306"/>
          <a:stretch/>
        </p:blipFill>
        <p:spPr>
          <a:xfrm>
            <a:off x="6024913" y="1036315"/>
            <a:ext cx="5109806" cy="4785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83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5956675-E72F-4E90-B5BD-ABEE25260789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76BE"/>
                </a:solidFill>
                <a:latin typeface="Arial"/>
              </a:rPr>
              <a:t>Domain II. Learning and Teaching</a:t>
            </a: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613DA84D-505C-4890-A538-4991B3842C2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70472" y="1788700"/>
            <a:ext cx="5421313" cy="3161672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3CF60B4-A514-4BFF-A136-2318C3B21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0217" y="1629234"/>
            <a:ext cx="5422392" cy="4636008"/>
          </a:xfrm>
          <a:prstGeom prst="rect">
            <a:avLst/>
          </a:prstGeom>
        </p:spPr>
        <p:txBody>
          <a:bodyPr/>
          <a:lstStyle/>
          <a:p>
            <a:pPr marL="0" indent="0"/>
            <a:r>
              <a:rPr lang="en-US" dirty="0"/>
              <a:t> Inquiry-based Learning </a:t>
            </a:r>
          </a:p>
          <a:p>
            <a:pPr marL="0" indent="0"/>
            <a:r>
              <a:rPr lang="en-US" dirty="0"/>
              <a:t> Problem Based Learning</a:t>
            </a:r>
          </a:p>
          <a:p>
            <a:pPr marL="0" indent="0"/>
            <a:r>
              <a:rPr lang="en-US" dirty="0"/>
              <a:t> Interdisciplinary</a:t>
            </a:r>
          </a:p>
          <a:p>
            <a:r>
              <a:rPr lang="en-US" dirty="0"/>
              <a:t>Growth mindset</a:t>
            </a:r>
          </a:p>
          <a:p>
            <a:r>
              <a:rPr lang="en-US" dirty="0"/>
              <a:t>Student ownership</a:t>
            </a:r>
          </a:p>
          <a:p>
            <a:r>
              <a:rPr lang="en-US" dirty="0"/>
              <a:t>Authentic assessments</a:t>
            </a:r>
          </a:p>
          <a:p>
            <a:r>
              <a:rPr lang="en-US" dirty="0"/>
              <a:t>Mastery/competency</a:t>
            </a:r>
          </a:p>
          <a:p>
            <a:r>
              <a:rPr lang="en-US" dirty="0"/>
              <a:t>Investment in teacher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B7A035-2E5C-4575-BF33-CA1CB848CE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9451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AA43B-EB76-42AF-9FF9-AED6CF763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b="1"/>
              <a:t>Domain III: Pathways to Success in Caree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8BC09B-0CF3-4C4B-841F-34DC749768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6344" y="1481328"/>
            <a:ext cx="5422392" cy="4636008"/>
          </a:xfrm>
        </p:spPr>
        <p:txBody>
          <a:bodyPr>
            <a:normAutofit/>
          </a:bodyPr>
          <a:lstStyle/>
          <a:p>
            <a:r>
              <a:rPr lang="en-US" dirty="0"/>
              <a:t>Connections: creating connections to the community creates context for classroom learning! </a:t>
            </a:r>
          </a:p>
          <a:p>
            <a:r>
              <a:rPr lang="en-US" dirty="0"/>
              <a:t>Helps answer the question, “when are we ever going to use this in the real world!”</a:t>
            </a:r>
          </a:p>
          <a:p>
            <a:r>
              <a:rPr lang="en-US" dirty="0"/>
              <a:t>Career exploration must be demonstrated by every school – even early elementary</a:t>
            </a:r>
          </a:p>
          <a:p>
            <a:endParaRPr lang="en-US" dirty="0"/>
          </a:p>
        </p:txBody>
      </p:sp>
      <p:pic>
        <p:nvPicPr>
          <p:cNvPr id="8194" name="Picture 2" descr="Evolving on guided pathways – Community College Daily">
            <a:extLst>
              <a:ext uri="{FF2B5EF4-FFF2-40B4-BE49-F238E27FC236}">
                <a16:creationId xmlns:a16="http://schemas.microsoft.com/office/drawing/2014/main" id="{9167AA3B-D07D-4849-B5C4-EF7B6340DD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8" r="15390" b="-2"/>
          <a:stretch/>
        </p:blipFill>
        <p:spPr bwMode="auto">
          <a:xfrm>
            <a:off x="6300216" y="1481328"/>
            <a:ext cx="5422392" cy="4636008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026CDB9-8E45-4836-9533-012A005FC3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7A9008A-481B-4F65-A514-1AA65EA0FD53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972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A6DF1D5-03EC-40B9-A5B0-266D60B247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719130"/>
              </p:ext>
            </p:extLst>
          </p:nvPr>
        </p:nvGraphicFramePr>
        <p:xfrm>
          <a:off x="770659" y="671658"/>
          <a:ext cx="10650682" cy="5314518"/>
        </p:xfrm>
        <a:graphic>
          <a:graphicData uri="http://schemas.openxmlformats.org/drawingml/2006/table">
            <a:tbl>
              <a:tblPr/>
              <a:tblGrid>
                <a:gridCol w="10650682">
                  <a:extLst>
                    <a:ext uri="{9D8B030D-6E8A-4147-A177-3AD203B41FA5}">
                      <a16:colId xmlns:a16="http://schemas.microsoft.com/office/drawing/2014/main" val="197830133"/>
                    </a:ext>
                  </a:extLst>
                </a:gridCol>
              </a:tblGrid>
              <a:tr h="154383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: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cultural strategies that reflect innovation, an entrepreneurial spirit, inquiry, and collaboration with individual accountability.</a:t>
                      </a:r>
                      <a:endParaRPr lang="en-US" sz="1500" dirty="0">
                        <a:effectLst/>
                      </a:endParaRPr>
                    </a:p>
                  </a:txBody>
                  <a:tcPr marL="81611" marR="81611" marT="81611" marB="81611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3A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94592"/>
                  </a:ext>
                </a:extLst>
              </a:tr>
              <a:tr h="1113429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i="0" u="sng" dirty="0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2:</a:t>
                      </a:r>
                      <a:r>
                        <a:rPr lang="en-US" sz="1900" b="0" i="0" u="none" strike="noStrike" dirty="0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an inclusive mission that supports ALL students.</a:t>
                      </a:r>
                      <a:endParaRPr lang="en-US" sz="1500" dirty="0">
                        <a:effectLst/>
                      </a:endParaRPr>
                    </a:p>
                  </a:txBody>
                  <a:tcPr marL="81611" marR="81611" marT="81611" marB="81611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00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0250842"/>
                  </a:ext>
                </a:extLst>
              </a:tr>
              <a:tr h="1113429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i="0" u="sng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3: </a:t>
                      </a:r>
                      <a:r>
                        <a:rPr lang="en-US" sz="1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opportunities for personalized learning.</a:t>
                      </a:r>
                      <a:endParaRPr lang="en-US" sz="1500">
                        <a:effectLst/>
                      </a:endParaRPr>
                    </a:p>
                  </a:txBody>
                  <a:tcPr marL="81611" marR="81611" marT="81611" marB="81611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8F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797495"/>
                  </a:ext>
                </a:extLst>
              </a:tr>
              <a:tr h="1543830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4: </a:t>
                      </a:r>
                      <a:r>
                        <a:rPr lang="en-US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flexible and autonomous leadership that communicates a shared vision, and that supports innovative instruction.</a:t>
                      </a:r>
                      <a:endParaRPr lang="en-US" sz="1500" dirty="0">
                        <a:effectLst/>
                      </a:endParaRPr>
                    </a:p>
                  </a:txBody>
                  <a:tcPr marL="81611" marR="81611" marT="81611" marB="81611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7539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9ACD7D2D-3AE8-4E4C-8141-9ABD1001B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182" y="691429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7687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C0B907E-DD85-4F3B-BFE9-4DF3F81C59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97036121"/>
              </p:ext>
            </p:extLst>
          </p:nvPr>
        </p:nvGraphicFramePr>
        <p:xfrm>
          <a:off x="662153" y="369828"/>
          <a:ext cx="10270426" cy="5400351"/>
        </p:xfrm>
        <a:graphic>
          <a:graphicData uri="http://schemas.openxmlformats.org/drawingml/2006/table">
            <a:tbl>
              <a:tblPr/>
              <a:tblGrid>
                <a:gridCol w="10270426">
                  <a:extLst>
                    <a:ext uri="{9D8B030D-6E8A-4147-A177-3AD203B41FA5}">
                      <a16:colId xmlns:a16="http://schemas.microsoft.com/office/drawing/2014/main" val="730262337"/>
                    </a:ext>
                  </a:extLst>
                </a:gridCol>
              </a:tblGrid>
              <a:tr h="1451241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5: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learning that prepares ALL students for college and careers in STEM, and that preserves disciplinary and interdisciplinary integrity.</a:t>
                      </a:r>
                      <a:endParaRPr lang="en-US" sz="1400" dirty="0">
                        <a:effectLst/>
                      </a:endParaRPr>
                    </a:p>
                  </a:txBody>
                  <a:tcPr marL="76645" marR="76645" marT="76645" marB="76645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3A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518394"/>
                  </a:ext>
                </a:extLst>
              </a:tr>
              <a:tr h="827178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sng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6:</a:t>
                      </a:r>
                      <a:r>
                        <a:rPr lang="en-US" sz="1800" b="0" i="0" u="none" strike="noStrike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authentic, problem-based learning and design thinking.</a:t>
                      </a:r>
                      <a:endParaRPr lang="en-US" sz="1400">
                        <a:effectLst/>
                      </a:endParaRPr>
                    </a:p>
                  </a:txBody>
                  <a:tcPr marL="76645" marR="76645" marT="76645" marB="76645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972844"/>
                  </a:ext>
                </a:extLst>
              </a:tr>
              <a:tr h="827178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sng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7: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an integrated, innovative curriculum.</a:t>
                      </a:r>
                      <a:endParaRPr lang="en-US" sz="1400">
                        <a:effectLst/>
                      </a:endParaRPr>
                    </a:p>
                  </a:txBody>
                  <a:tcPr marL="76645" marR="76645" marT="76645" marB="76645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8F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168110"/>
                  </a:ext>
                </a:extLst>
              </a:tr>
              <a:tr h="114737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8: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dynamic assessment systems that include authentic, performance-based assessments.</a:t>
                      </a:r>
                      <a:endParaRPr lang="en-US" sz="1400" dirty="0">
                        <a:effectLst/>
                      </a:endParaRPr>
                    </a:p>
                  </a:txBody>
                  <a:tcPr marL="76645" marR="76645" marT="76645" marB="76645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1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430874"/>
                  </a:ext>
                </a:extLst>
              </a:tr>
              <a:tr h="114737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sng" dirty="0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9: </a:t>
                      </a:r>
                      <a:r>
                        <a:rPr lang="en-US" sz="1800" b="0" i="0" u="none" strike="noStrike" dirty="0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a well-prepared teaching staff, with ongoing and personalized professional learning.</a:t>
                      </a:r>
                      <a:endParaRPr lang="en-US" sz="1400" dirty="0">
                        <a:effectLst/>
                      </a:endParaRPr>
                    </a:p>
                  </a:txBody>
                  <a:tcPr marL="76645" marR="76645" marT="76645" marB="76645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09718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33097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B0CA6C2-9EF4-4C24-B1C4-8B9A2133E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844392"/>
              </p:ext>
            </p:extLst>
          </p:nvPr>
        </p:nvGraphicFramePr>
        <p:xfrm>
          <a:off x="785308" y="580325"/>
          <a:ext cx="10280355" cy="4852288"/>
        </p:xfrm>
        <a:graphic>
          <a:graphicData uri="http://schemas.openxmlformats.org/drawingml/2006/table">
            <a:tbl>
              <a:tblPr/>
              <a:tblGrid>
                <a:gridCol w="10280355">
                  <a:extLst>
                    <a:ext uri="{9D8B030D-6E8A-4147-A177-3AD203B41FA5}">
                      <a16:colId xmlns:a16="http://schemas.microsoft.com/office/drawing/2014/main" val="4187640717"/>
                    </a:ext>
                  </a:extLst>
                </a:gridCol>
              </a:tblGrid>
              <a:tr h="1506849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0: </a:t>
                      </a:r>
                      <a:r>
                        <a:rPr lang="en-US" sz="2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curricular connections with business and industry, providing opportunities and access for success in college and career.</a:t>
                      </a:r>
                      <a:endParaRPr lang="en-US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3A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109994"/>
                  </a:ext>
                </a:extLst>
              </a:tr>
              <a:tr h="1467134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1:</a:t>
                      </a:r>
                      <a:r>
                        <a:rPr lang="en-US" sz="2200" b="0" i="0" u="none" strike="noStrike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STEM-rich formal and informal experiences with the community that are personally relevant to the student.</a:t>
                      </a:r>
                      <a:endParaRPr lang="en-US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205160"/>
                  </a:ext>
                </a:extLst>
              </a:tr>
              <a:tr h="187830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2:</a:t>
                      </a:r>
                      <a:r>
                        <a:rPr lang="en-US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collaborative partnerships with business, industry, arts, and higher education that provide and enhance opportunities for practical and real-world experience.</a:t>
                      </a:r>
                      <a:endParaRPr lang="en-US" dirty="0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9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214317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FFD0BD78-D234-427C-8466-22A46689F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7572" y="727787"/>
            <a:ext cx="13296386" cy="523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9049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926C970-417A-4B41-904C-DE9A180C29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20000"/>
                    <a:lumOff val="8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e-catcher link</a:t>
            </a:r>
            <a:endParaRPr lang="en-US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0137A-8DBF-4517-8EB0-92CCB2AC7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nel Discussion</a:t>
            </a:r>
          </a:p>
        </p:txBody>
      </p:sp>
    </p:spTree>
    <p:extLst>
      <p:ext uri="{BB962C8B-B14F-4D97-AF65-F5344CB8AC3E}">
        <p14:creationId xmlns:p14="http://schemas.microsoft.com/office/powerpoint/2010/main" val="1722460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316183-4C05-43D0-AFD3-73D9CB8FE2D5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Design Thinking: Orientation to </a:t>
            </a:r>
            <a:r>
              <a:rPr lang="en-US" strike="sngStrike" dirty="0"/>
              <a:t>STEM</a:t>
            </a:r>
            <a:r>
              <a:rPr lang="en-US" dirty="0"/>
              <a:t> LIFE skill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7BBD98F-51B1-42FD-8A5B-A95ED99AE9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01701" y="1977638"/>
            <a:ext cx="5422392" cy="4636008"/>
          </a:xfrm>
        </p:spPr>
        <p:txBody>
          <a:bodyPr/>
          <a:lstStyle/>
          <a:p>
            <a:r>
              <a:rPr lang="en-US" dirty="0"/>
              <a:t>Collaboration</a:t>
            </a:r>
          </a:p>
          <a:p>
            <a:r>
              <a:rPr lang="en-US" dirty="0"/>
              <a:t>Critical thinking </a:t>
            </a:r>
          </a:p>
          <a:p>
            <a:r>
              <a:rPr lang="en-US" dirty="0"/>
              <a:t>Communication </a:t>
            </a:r>
          </a:p>
          <a:p>
            <a:r>
              <a:rPr lang="en-US" dirty="0"/>
              <a:t>Creativity  </a:t>
            </a:r>
          </a:p>
          <a:p>
            <a:r>
              <a:rPr lang="en-US" dirty="0"/>
              <a:t>Cultural Competency </a:t>
            </a:r>
          </a:p>
          <a:p>
            <a:r>
              <a:rPr lang="en-US" dirty="0"/>
              <a:t>Character Development 	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2AC58B-3AAA-4CFD-AD03-285E7FE328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1268" name="Picture 4" descr="Image result for stanford design process">
            <a:extLst>
              <a:ext uri="{FF2B5EF4-FFF2-40B4-BE49-F238E27FC236}">
                <a16:creationId xmlns:a16="http://schemas.microsoft.com/office/drawing/2014/main" id="{875CF9B0-D448-4B4B-B625-73CAAC5B1AAB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29" y="2013417"/>
            <a:ext cx="6324918" cy="3153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46957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528D760A-8220-4F62-9BD3-3B31473ACE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868" y="3368566"/>
            <a:ext cx="11256264" cy="132926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CFDFFC-03AB-4E7E-9EDE-CA0910635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ation Application Questions</a:t>
            </a:r>
          </a:p>
        </p:txBody>
      </p:sp>
    </p:spTree>
    <p:extLst>
      <p:ext uri="{BB962C8B-B14F-4D97-AF65-F5344CB8AC3E}">
        <p14:creationId xmlns:p14="http://schemas.microsoft.com/office/powerpoint/2010/main" val="2685718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0F92F-68FE-4A1A-8FF9-80AB59CCB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357794" cy="963324"/>
          </a:xfrm>
        </p:spPr>
        <p:txBody>
          <a:bodyPr/>
          <a:lstStyle/>
          <a:p>
            <a:r>
              <a:rPr lang="en-US" dirty="0"/>
              <a:t>1. Evidence of school culture (application question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1A307F-531E-499B-986F-E512E11E3C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1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How does the school culture promote innovation, entrepreneurialism, inquiry and collaboration?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2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chool culture demonstrates an inclusive mission and commitment to personalized learning.</a:t>
            </a: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3a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chool’s leadership team exhibits flexible and autonomous leadership, communicates a shared vision and supports innovative instruction.</a:t>
            </a: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3b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Provide evidence of school structures in place to support routine STEM-focused professional development throughout the entire school. (i.e., common planning time, professional development funds).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4a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chool’s governing body (and/or STEM/STEAM advisory group) is selected and its level of support for the operation of a STEM/STEAM school.  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4b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Please provide a link to the listing of the school’s board members or list below. </a:t>
            </a: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4c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STEM/STEAM Advisory Group Members (if applicable)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4d 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scribe how members of the advisory group were selected and how they have contributed to the growth of STEM/STEAM in the building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111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B002A7D-4EE4-4D91-ADBD-F4266C813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8D2ABA-2822-4DFC-B5A8-1156C1A4D0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the relationship between culture, curriculum and connections to the community to facilitate high-quality STEM/STEAM education </a:t>
            </a:r>
          </a:p>
          <a:p>
            <a:r>
              <a:rPr lang="en-US" dirty="0"/>
              <a:t>Identify practical strategies to:</a:t>
            </a:r>
          </a:p>
          <a:p>
            <a:pPr lvl="1"/>
            <a:r>
              <a:rPr lang="en-US" dirty="0"/>
              <a:t>Incorporate </a:t>
            </a:r>
            <a:r>
              <a:rPr lang="en-US" b="0" i="0" u="none" strike="noStrike" dirty="0">
                <a:effectLst/>
              </a:rPr>
              <a:t>authentic, problem-based learning and design thinking</a:t>
            </a:r>
          </a:p>
          <a:p>
            <a:pPr lvl="1"/>
            <a:r>
              <a:rPr lang="en-US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ide learning experiences provide students with opportunities to see intentional   connections between content areas 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Create and use dynamic assessments to measure student learning </a:t>
            </a:r>
          </a:p>
          <a:p>
            <a:pPr lvl="1"/>
            <a:r>
              <a:rPr lang="en-US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upport personalized learning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Discuss the role of the curriculum team and </a:t>
            </a:r>
            <a:endParaRPr lang="en-US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/>
            <a:endParaRPr lang="en-US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sz="2400" b="0" i="0" u="none" strike="noStrike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575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EFCAAC-F25B-49EC-960E-57DF6D0F0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urriculum Team (application question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2A7E35-1810-4486-A18B-2D6FF24E4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.4e 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scribe how the school’s curriculum will be developed by a curriculum team* consisting of, at minimum: </a:t>
            </a:r>
          </a:p>
          <a:p>
            <a:pPr marL="22860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1) the chief academic officer; </a:t>
            </a:r>
          </a:p>
          <a:p>
            <a:pPr marL="22860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) a higher education partner; </a:t>
            </a:r>
          </a:p>
          <a:p>
            <a:pPr marL="22860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) a teacher; and </a:t>
            </a:r>
          </a:p>
          <a:p>
            <a:pPr marL="22860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4) a member of the public with expertise in the application of science, technology, engineering or mathematics. Describe how the team will develop an innovative curriculum.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 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*If the proposal is for a STEAM school or STEAM school equivalent, the curriculum team also must include an expert in the integration of arts and design into the STEM fields. Sometimes, the STEM/STEAM advisory team and curriculum team can be the same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322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13069-4D4D-4473-96D4-6B6CB4ADA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 Learning and Teaching (application questions)</a:t>
            </a:r>
            <a:endParaRPr lang="en-US" sz="5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0FEBE0-B88E-4DEC-A32C-3F7B9B7CC8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1110996"/>
            <a:ext cx="11256264" cy="4636008"/>
          </a:xfrm>
        </p:spPr>
        <p:txBody>
          <a:bodyPr/>
          <a:lstStyle/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1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Show how personalized learning, reasoning and problem solving (scientific reasoning, engineering design, computational thinking, design thinking, argument from evidence) are emphasized throughout the curriculum. Please include your design cycle/process image (if available) the school/district utilizes and integrates into learning experiences</a:t>
            </a: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2a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problem-based learning drives instruction and curriculum.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2b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Provide examples of Problem-based Learning. 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2c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chool implements a curriculum with interdisciplinary connections and frequently uses technology to enhance student learning. Be sure to include how the arts and humanities are integrated in the STEM/STEAM disciplines</a:t>
            </a:r>
            <a:r>
              <a:rPr lang="en-US" sz="18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. 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3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scribe how student learning is assessed.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4a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chool recruits and retains faculty members with a high interest in STEM/STEAM education and experience with innovative instructional methods. </a:t>
            </a: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4b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scribe how teachers effectively and consistently use best practices in STEM/STEAM pedagogy.</a:t>
            </a:r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</a:p>
          <a:p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2.4c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Highlight any professional development sessions on STEM/STEAM best practices that school staff have attended. 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083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34C43-9E74-4449-8EBB-52B586AA3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Career Explorat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5C7AE-ACD6-4594-869D-3DD2E0BFF5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.1 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What access does the school provide to students to support career exploration/interests? If applicable, provide details about student participation in College Credit Plus and other certification programs.  </a:t>
            </a: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.2a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tail the established community partners and their roles within the school. *STEAM applicants must provide an art/humanities partner. </a:t>
            </a: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.2b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partners are involved with curriculum development, provide practical, work-based learning experiences and student support and/or share resources with the school.   </a:t>
            </a:r>
          </a:p>
          <a:p>
            <a:r>
              <a:rPr lang="en-US" sz="18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3.3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 Describe how the school provides students with STEM/STEAM-rich formal and informal relevant experiences with the communit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1240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DDF9B306-1BE9-4822-A0E7-72B344194D7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54A86C-EBC6-4567-A228-606AF4184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and Timeline </a:t>
            </a:r>
          </a:p>
        </p:txBody>
      </p:sp>
    </p:spTree>
    <p:extLst>
      <p:ext uri="{BB962C8B-B14F-4D97-AF65-F5344CB8AC3E}">
        <p14:creationId xmlns:p14="http://schemas.microsoft.com/office/powerpoint/2010/main" val="40375133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Application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rgbClr val="404040"/>
                </a:solidFill>
              </a:rPr>
              <a:t>Complete “intent to apply” (by December 15</a:t>
            </a:r>
            <a:r>
              <a:rPr lang="en-US" baseline="30000" dirty="0">
                <a:solidFill>
                  <a:srgbClr val="404040"/>
                </a:solidFill>
              </a:rPr>
              <a:t>th</a:t>
            </a:r>
            <a:r>
              <a:rPr lang="en-US" dirty="0">
                <a:solidFill>
                  <a:srgbClr val="404040"/>
                </a:solidFill>
              </a:rPr>
              <a:t>!)</a:t>
            </a:r>
          </a:p>
          <a:p>
            <a:r>
              <a:rPr lang="en-US" dirty="0">
                <a:solidFill>
                  <a:srgbClr val="404040"/>
                </a:solidFill>
              </a:rPr>
              <a:t>Submit draft for feedback to OSLN (optional) January 19, 2022</a:t>
            </a:r>
          </a:p>
          <a:p>
            <a:r>
              <a:rPr lang="en-US" dirty="0">
                <a:solidFill>
                  <a:srgbClr val="404040"/>
                </a:solidFill>
              </a:rPr>
              <a:t>Officially submit to ODE – Feb 24, 2022 by 5 pm. </a:t>
            </a:r>
          </a:p>
          <a:p>
            <a:r>
              <a:rPr lang="en-US" dirty="0">
                <a:solidFill>
                  <a:srgbClr val="404040"/>
                </a:solidFill>
              </a:rPr>
              <a:t>OSLN site visits to selected schools (March/April 2022)</a:t>
            </a:r>
          </a:p>
          <a:p>
            <a:r>
              <a:rPr lang="en-US" dirty="0">
                <a:solidFill>
                  <a:srgbClr val="404040"/>
                </a:solidFill>
              </a:rPr>
              <a:t>OSLN will review and notify you of our recommendation (Spring 2022)</a:t>
            </a:r>
          </a:p>
          <a:p>
            <a:r>
              <a:rPr lang="en-US" dirty="0">
                <a:solidFill>
                  <a:srgbClr val="404040"/>
                </a:solidFill>
              </a:rPr>
              <a:t>OSLN makes recommendations to STEM Committee (Spring 2022)</a:t>
            </a:r>
          </a:p>
          <a:p>
            <a:r>
              <a:rPr lang="en-US" dirty="0">
                <a:solidFill>
                  <a:srgbClr val="404040"/>
                </a:solidFill>
              </a:rPr>
              <a:t>Designations granted in the Spring (by the STEM Committe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84A9F3-E87A-4B64-BBB4-9FA958277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3519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17E2F-CF72-4D3B-BCD7-65272A80FB0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67862" y="746234"/>
            <a:ext cx="11255375" cy="5538569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Designation Timelin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November 15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FY23 Application poste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December 15:  </a:t>
            </a:r>
            <a:r>
              <a:rPr lang="en-US" sz="2000" b="0" i="0" u="none" strike="noStrike" dirty="0">
                <a:solidFill>
                  <a:srgbClr val="CC012B"/>
                </a:solidFill>
                <a:effectLst/>
                <a:latin typeface="source-sans-pro-n4"/>
                <a:hlinkClick r:id="rId2"/>
              </a:rPr>
              <a:t>Complete this survey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 to inform the Ohio Department of Education and the Ohio STEM Learning Network on your intent to apply and if technical assistance will be pursue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January 19: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 Submit a rough draft of the application/portfolio to the Ohio STEM Learning Network for technical assistance. Email rough drafts to </a:t>
            </a:r>
            <a:r>
              <a:rPr lang="en-US" sz="2000" b="0" i="0" u="none" strike="noStrike" dirty="0">
                <a:solidFill>
                  <a:srgbClr val="CC012B"/>
                </a:solidFill>
                <a:effectLst/>
                <a:latin typeface="source-sans-pro-n4"/>
                <a:hlinkClick r:id="rId3"/>
              </a:rPr>
              <a:t>osln@battelle.org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.  You will receive feedback on your draft application in time to make changes prior to the final submission to Ohio Department of Educ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February 24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Final applications due to the Ohio Department of Education by 5 p.m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March-April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After a preliminary review from the Ohio STEM Learning Network, site visits to selected schools will be conducted during the spring (March/April). A school may also request a site visit when submitting their applic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April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Applicants will be notified of the Ohio STEM Learning Network’s recommend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May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The Ohio STEM committee will vote on designated schools</a:t>
            </a: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. </a:t>
            </a:r>
            <a:endParaRPr lang="en-US" sz="2000" b="0" i="0" dirty="0">
              <a:solidFill>
                <a:srgbClr val="404142"/>
              </a:solidFill>
              <a:effectLst/>
              <a:latin typeface="source-sans-pro-n4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6466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903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27C39-D8F0-4DA7-AF93-C5BF7EA7F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t for today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49FD5-B20D-4C4B-AF44-6DB154DAE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STEM Quality Model (highlights) </a:t>
            </a:r>
          </a:p>
          <a:p>
            <a:r>
              <a:rPr lang="en-US" dirty="0"/>
              <a:t>Panel discussion </a:t>
            </a:r>
          </a:p>
          <a:p>
            <a:pPr lvl="1"/>
            <a:r>
              <a:rPr lang="en-US" dirty="0"/>
              <a:t>Please participate in the discussion </a:t>
            </a:r>
          </a:p>
          <a:p>
            <a:pPr lvl="1"/>
            <a:r>
              <a:rPr lang="en-US" dirty="0"/>
              <a:t>Contribute to the </a:t>
            </a:r>
            <a:r>
              <a:rPr lang="en-US" dirty="0">
                <a:hlinkClick r:id="rId2"/>
              </a:rPr>
              <a:t>collaborative note-catcher </a:t>
            </a:r>
            <a:endParaRPr lang="en-US" dirty="0"/>
          </a:p>
          <a:p>
            <a:r>
              <a:rPr lang="en-US" dirty="0"/>
              <a:t>Panelists:</a:t>
            </a:r>
          </a:p>
          <a:p>
            <a:pPr lvl="1"/>
            <a:r>
              <a:rPr lang="en-US" dirty="0"/>
              <a:t>Christina Ramsey, McKinley STEMM School, Principal </a:t>
            </a:r>
          </a:p>
          <a:p>
            <a:pPr lvl="1"/>
            <a:r>
              <a:rPr lang="en-US" dirty="0"/>
              <a:t>Tamee Tucker, iSTEM Early College High School, Chief Academic Officer </a:t>
            </a:r>
          </a:p>
          <a:p>
            <a:pPr lvl="1"/>
            <a:r>
              <a:rPr lang="en-US" dirty="0"/>
              <a:t>Jenn Reid, Dayton Regional STEM School, Training Center Coordinator &amp; PBL Coach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29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21CBF-A5DE-4948-8572-EEF4D258ED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view!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F69A02-CF24-40F3-9BB3-8C1BD1E9C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A8021BF8-5F69-431C-91F5-C25B16D912B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285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0">
            <a:extLst>
              <a:ext uri="{FF2B5EF4-FFF2-40B4-BE49-F238E27FC236}">
                <a16:creationId xmlns:a16="http://schemas.microsoft.com/office/drawing/2014/main" id="{85D61479-2C5B-4A3C-876C-F5649ACD2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012002E1-852E-4EDA-B3FD-4AC464D2D7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8" r="1119"/>
          <a:stretch/>
        </p:blipFill>
        <p:spPr>
          <a:xfrm>
            <a:off x="1" y="10"/>
            <a:ext cx="9669642" cy="6857990"/>
          </a:xfrm>
          <a:prstGeom prst="rect">
            <a:avLst/>
          </a:prstGeom>
        </p:spPr>
      </p:pic>
      <p:sp>
        <p:nvSpPr>
          <p:cNvPr id="4" name="Rectangle 12">
            <a:extLst>
              <a:ext uri="{FF2B5EF4-FFF2-40B4-BE49-F238E27FC236}">
                <a16:creationId xmlns:a16="http://schemas.microsoft.com/office/drawing/2014/main" id="{EE5D9D00-3E0F-4D6B-BF67-3899E3E51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E8243F8-1848-42EB-B1F7-2BB7B8287FCA}"/>
              </a:ext>
            </a:extLst>
          </p:cNvPr>
          <p:cNvSpPr txBox="1">
            <a:spLocks/>
          </p:cNvSpPr>
          <p:nvPr/>
        </p:nvSpPr>
        <p:spPr>
          <a:xfrm>
            <a:off x="7531610" y="365125"/>
            <a:ext cx="3822189" cy="18999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rgbClr val="0070C0"/>
                </a:solidFill>
                <a:cs typeface="Arial" panose="020B0604020202020204" pitchFamily="34" charset="0"/>
              </a:rPr>
              <a:t>STEM/STEAM Schools</a:t>
            </a:r>
            <a:endParaRPr lang="en-US" sz="40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6574675-2980-48F2-AD19-812FF8925AFD}"/>
              </a:ext>
            </a:extLst>
          </p:cNvPr>
          <p:cNvSpPr txBox="1">
            <a:spLocks/>
          </p:cNvSpPr>
          <p:nvPr/>
        </p:nvSpPr>
        <p:spPr>
          <a:xfrm>
            <a:off x="7949186" y="2179019"/>
            <a:ext cx="3822189" cy="374276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00">
                <a:cs typeface="Arial" panose="020B0604020202020204" pitchFamily="34" charset="0"/>
              </a:rPr>
              <a:t>Culture of innovation</a:t>
            </a:r>
          </a:p>
          <a:p>
            <a:r>
              <a:rPr lang="en-US" sz="1900">
                <a:cs typeface="Arial" panose="020B0604020202020204" pitchFamily="34" charset="0"/>
              </a:rPr>
              <a:t>Inquiry-based, hands-on instruction throughout all content </a:t>
            </a:r>
          </a:p>
          <a:p>
            <a:r>
              <a:rPr lang="en-US" sz="1900">
                <a:cs typeface="Arial" panose="020B0604020202020204" pitchFamily="34" charset="0"/>
              </a:rPr>
              <a:t>STEM/STEAM partnerships </a:t>
            </a:r>
          </a:p>
          <a:p>
            <a:r>
              <a:rPr lang="en-US" sz="1900">
                <a:cs typeface="Arial" panose="020B0604020202020204" pitchFamily="34" charset="0"/>
              </a:rPr>
              <a:t>Leader and teacher development </a:t>
            </a:r>
          </a:p>
          <a:p>
            <a:r>
              <a:rPr lang="en-US" sz="1900">
                <a:cs typeface="Arial" panose="020B0604020202020204" pitchFamily="34" charset="0"/>
              </a:rPr>
              <a:t>Strong connection to institutes of higher education, particularly at secondary level </a:t>
            </a:r>
          </a:p>
          <a:p>
            <a:r>
              <a:rPr lang="en-US" sz="1900">
                <a:cs typeface="Arial" panose="020B0604020202020204" pitchFamily="34" charset="0"/>
              </a:rPr>
              <a:t>Curriculum team – with community experts including industry partners and experts in arts integration for STEAM</a:t>
            </a:r>
          </a:p>
          <a:p>
            <a:pPr marL="0" indent="0">
              <a:buFont typeface="Arial" pitchFamily="34" charset="0"/>
              <a:buNone/>
            </a:pPr>
            <a:endParaRPr lang="en-US" sz="1900"/>
          </a:p>
          <a:p>
            <a:endParaRPr lang="en-US" sz="1900"/>
          </a:p>
          <a:p>
            <a:endParaRPr lang="en-US" sz="190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2DD8F7D5-84B8-476B-B702-9765D5CBAB0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  <a:defRPr/>
            </a:pPr>
            <a:fld id="{47A9008A-481B-4F65-A514-1AA65EA0FD5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>
                <a:spcAft>
                  <a:spcPts val="600"/>
                </a:spcAft>
                <a:defRPr/>
              </a:pPr>
              <a:t>5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71489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F5B80-E570-44F8-993F-4057888976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868" y="141236"/>
            <a:ext cx="11256264" cy="792160"/>
          </a:xfrm>
        </p:spPr>
        <p:txBody>
          <a:bodyPr/>
          <a:lstStyle/>
          <a:p>
            <a:pPr algn="ctr"/>
            <a:r>
              <a:rPr lang="en-US" b="1" dirty="0"/>
              <a:t>STEM/STEAM  is for ALL student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85F99F-F7F8-45E4-8CF0-66E21A56F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>
                <a:latin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B17FA6-B538-48B5-87C1-0FC0298515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6085" y="838919"/>
            <a:ext cx="7796464" cy="5180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365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6E433365-C430-4540-9904-FA4594B4456C}"/>
              </a:ext>
            </a:extLst>
          </p:cNvPr>
          <p:cNvGrpSpPr/>
          <p:nvPr/>
        </p:nvGrpSpPr>
        <p:grpSpPr>
          <a:xfrm>
            <a:off x="4457700" y="2111231"/>
            <a:ext cx="1540764" cy="1656097"/>
            <a:chOff x="321620" y="557068"/>
            <a:chExt cx="2812037" cy="4215139"/>
          </a:xfrm>
        </p:grpSpPr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1673D0AD-86F9-4649-BD9B-75FC685549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730" y="557068"/>
              <a:ext cx="2605814" cy="28772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E32CC82-55D1-4B92-9A16-B675334F6ABF}"/>
                </a:ext>
              </a:extLst>
            </p:cNvPr>
            <p:cNvSpPr txBox="1"/>
            <p:nvPr/>
          </p:nvSpPr>
          <p:spPr>
            <a:xfrm>
              <a:off x="321620" y="3832174"/>
              <a:ext cx="2812037" cy="940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</p:grp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2DDA05B-C7A4-4A85-82F9-672384800D4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Ohio Revised Code outlines requirements for STEM/STEAM schools </a:t>
            </a:r>
          </a:p>
          <a:p>
            <a:r>
              <a:rPr lang="en-US" dirty="0"/>
              <a:t>New – schools must re-apply every 5 year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A030AB-20F6-4BA5-98A8-C89643EE98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19088" y="1865376"/>
            <a:ext cx="3067812" cy="1664208"/>
          </a:xfrm>
        </p:spPr>
        <p:txBody>
          <a:bodyPr/>
          <a:lstStyle/>
          <a:p>
            <a:r>
              <a:rPr lang="en-US" dirty="0"/>
              <a:t>Outlines the characteristics and attributes of a high-quality STEM or STEAM school </a:t>
            </a:r>
          </a:p>
          <a:p>
            <a:r>
              <a:rPr lang="en-US" dirty="0"/>
              <a:t>Roadmap to designation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264BA7-A3E1-4986-9094-7E3B904C78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ligned to ORC 3326.03 and Quality Model</a:t>
            </a:r>
          </a:p>
          <a:p>
            <a:r>
              <a:rPr lang="en-US" dirty="0"/>
              <a:t>Schools must provide evidence that they meet the criteria stated in the la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FE5ED00-0801-4B7A-8E14-F8F9627F20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igned to ORC 3326.03, Quality Model and Application </a:t>
            </a:r>
          </a:p>
          <a:p>
            <a:r>
              <a:rPr lang="en-US" dirty="0"/>
              <a:t>Initial, Approaching, Accomplishing, Model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3EEDE6-390C-4CE9-B3F1-BCCB3B0C7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ation Resourc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66C0F0-3124-4FB8-BD34-ACA766324C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ORC 3326.03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274CCF-C4F5-4F85-BD8E-4CA5737C31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>
                <a:hlinkClick r:id="rId4"/>
              </a:rPr>
              <a:t>Quality Model for STE(A)M Schools</a:t>
            </a:r>
            <a:r>
              <a:rPr lang="en-US" dirty="0"/>
              <a:t>	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748F292-4F13-42CB-B257-2D3647FEC8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>
                <a:hlinkClick r:id="rId5"/>
              </a:rPr>
              <a:t>Designation Application </a:t>
            </a:r>
            <a:r>
              <a:rPr lang="en-US" dirty="0"/>
              <a:t>	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6DBBFD3-A2BB-4DDD-8AD5-9CBC690CBF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17716" y="1800315"/>
            <a:ext cx="1116984" cy="1455569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964DBA4-B6C9-4100-B1C2-486533504B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>
                <a:hlinkClick r:id="rId5"/>
              </a:rPr>
              <a:t>Application Rubr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690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03D2C0-4066-4D84-A96C-26EE032E4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dirty="0"/>
              <a:t>What is the quality model?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FA7D0BD5-4D1A-4188-A6D6-6E9D512FDC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43733" y="1061884"/>
            <a:ext cx="5778875" cy="408038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6BDAD9-6E83-48B7-83C7-53B406E63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344" y="1140542"/>
            <a:ext cx="5394960" cy="4958506"/>
          </a:xfrm>
        </p:spPr>
        <p:txBody>
          <a:bodyPr>
            <a:normAutofit/>
          </a:bodyPr>
          <a:lstStyle/>
          <a:p>
            <a:pPr rtl="0" fontAlgn="base"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effectLst/>
              </a:rPr>
              <a:t>Details essential criteria for high quality STEM and STEAM implementation </a:t>
            </a:r>
          </a:p>
          <a:p>
            <a:pPr rtl="0" fontAlgn="base"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effectLst/>
              </a:rPr>
              <a:t>Defines the three domains of STEM and STEAM </a:t>
            </a:r>
          </a:p>
          <a:p>
            <a:pPr marL="0" indent="0" rtl="0" fontAlgn="base">
              <a:spcBef>
                <a:spcPts val="360"/>
              </a:spcBef>
              <a:spcAft>
                <a:spcPts val="0"/>
              </a:spcAft>
              <a:buNone/>
            </a:pPr>
            <a:endParaRPr lang="en-US" b="0" i="0" u="none" strike="noStrike" dirty="0">
              <a:effectLst/>
            </a:endParaRPr>
          </a:p>
          <a:p>
            <a:pPr lvl="1">
              <a:spcBef>
                <a:spcPts val="360"/>
              </a:spcBef>
              <a:spcAft>
                <a:spcPts val="0"/>
              </a:spcAft>
            </a:pPr>
            <a:r>
              <a:rPr lang="en-US" sz="2000" b="1" i="0" u="none" strike="noStrike" dirty="0">
                <a:effectLst/>
              </a:rPr>
              <a:t>Domain 1:</a:t>
            </a:r>
            <a:r>
              <a:rPr lang="en-US" sz="2000" b="0" i="0" u="none" strike="noStrike" dirty="0">
                <a:effectLst/>
              </a:rPr>
              <a:t> A Culture of Learning  (Culture)</a:t>
            </a:r>
            <a:endParaRPr lang="en-US" sz="2000" b="0" dirty="0">
              <a:effectLst/>
            </a:endParaRPr>
          </a:p>
          <a:p>
            <a:pPr lvl="1">
              <a:spcBef>
                <a:spcPts val="360"/>
              </a:spcBef>
              <a:spcAft>
                <a:spcPts val="0"/>
              </a:spcAft>
            </a:pPr>
            <a:r>
              <a:rPr lang="en-US" sz="2000" b="1" i="0" u="none" strike="noStrike" dirty="0">
                <a:effectLst/>
              </a:rPr>
              <a:t>Domain 2: </a:t>
            </a:r>
            <a:r>
              <a:rPr lang="en-US" sz="2000" b="0" i="0" u="none" strike="noStrike" dirty="0">
                <a:effectLst/>
              </a:rPr>
              <a:t>Learning and Teaching (Curriculum)</a:t>
            </a:r>
            <a:endParaRPr lang="en-US" sz="2000" b="0" dirty="0">
              <a:effectLst/>
            </a:endParaRPr>
          </a:p>
          <a:p>
            <a:pPr lvl="1"/>
            <a:r>
              <a:rPr lang="en-US" sz="2000" b="1" i="0" u="none" strike="noStrike" dirty="0">
                <a:effectLst/>
              </a:rPr>
              <a:t>Domain 3: </a:t>
            </a:r>
            <a:r>
              <a:rPr lang="en-US" sz="2000" b="0" i="0" u="none" strike="noStrike" dirty="0">
                <a:effectLst/>
              </a:rPr>
              <a:t>Pathways to Success in Careers  (Connections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57503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81CEBF8F-2C03-4DC0-B78D-2BF20456EC3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108520E-F550-4DA4-92F6-4B3627D10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Model Learning Domains</a:t>
            </a:r>
          </a:p>
        </p:txBody>
      </p:sp>
    </p:spTree>
    <p:extLst>
      <p:ext uri="{BB962C8B-B14F-4D97-AF65-F5344CB8AC3E}">
        <p14:creationId xmlns:p14="http://schemas.microsoft.com/office/powerpoint/2010/main" val="2098515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ttelle Widescreen Template v17</Template>
  <TotalTime>896</TotalTime>
  <Words>1644</Words>
  <Application>Microsoft Office PowerPoint</Application>
  <PresentationFormat>Widescreen</PresentationFormat>
  <Paragraphs>162</Paragraphs>
  <Slides>2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2" baseType="lpstr">
      <vt:lpstr>Arial</vt:lpstr>
      <vt:lpstr>Calibri</vt:lpstr>
      <vt:lpstr>source-sans-pro-n4</vt:lpstr>
      <vt:lpstr>Wingdings</vt:lpstr>
      <vt:lpstr>Default Theme</vt:lpstr>
      <vt:lpstr>think-cell Slide</vt:lpstr>
      <vt:lpstr>Beyond PBL: Teaching and Learning in STEM/STEAM Schools</vt:lpstr>
      <vt:lpstr>Learning Objectives</vt:lpstr>
      <vt:lpstr>Format for today </vt:lpstr>
      <vt:lpstr>Review! </vt:lpstr>
      <vt:lpstr>PowerPoint Presentation</vt:lpstr>
      <vt:lpstr>STEM/STEAM  is for ALL students </vt:lpstr>
      <vt:lpstr>Designation Resources</vt:lpstr>
      <vt:lpstr>What is the quality model?</vt:lpstr>
      <vt:lpstr>Quality Model Learning Domains</vt:lpstr>
      <vt:lpstr>Domain I: A Culture of Learning</vt:lpstr>
      <vt:lpstr>Domain II. Learning and Teaching</vt:lpstr>
      <vt:lpstr>Domain III: Pathways to Success in Careers </vt:lpstr>
      <vt:lpstr>PowerPoint Presentation</vt:lpstr>
      <vt:lpstr>PowerPoint Presentation</vt:lpstr>
      <vt:lpstr>PowerPoint Presentation</vt:lpstr>
      <vt:lpstr>Panel Discussion</vt:lpstr>
      <vt:lpstr>Design Thinking: Orientation to STEM LIFE skills</vt:lpstr>
      <vt:lpstr>Designation Application Questions</vt:lpstr>
      <vt:lpstr>1. Evidence of school culture (application questions)</vt:lpstr>
      <vt:lpstr>1. Curriculum Team (application questions)</vt:lpstr>
      <vt:lpstr>2. Learning and Teaching (application questions)</vt:lpstr>
      <vt:lpstr>3. Career Exploration </vt:lpstr>
      <vt:lpstr>Process and Timeline </vt:lpstr>
      <vt:lpstr>Application Proces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hio STEM Learning Network</dc:title>
  <dc:creator>Sherman, Heather K</dc:creator>
  <cp:lastModifiedBy>Sherman, Heather (US)</cp:lastModifiedBy>
  <cp:revision>22</cp:revision>
  <dcterms:created xsi:type="dcterms:W3CDTF">2019-07-30T23:58:57Z</dcterms:created>
  <dcterms:modified xsi:type="dcterms:W3CDTF">2021-11-30T18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